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47C-4736-A062-C5741A19BF2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47C-4736-A062-C5741A19BF2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47C-4736-A062-C5741A19BF2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47C-4736-A062-C5741A19BF2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47C-4736-A062-C5741A19BF23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47C-4736-A062-C5741A19BF2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47C-4736-A062-C5741A19BF23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47C-4736-A062-C5741A19BF2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47C-4736-A062-C5741A19BF2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47C-4736-A062-C5741A19BF23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47C-4736-A062-C5741A19BF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#,##0.0;"-"#,##0.0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47C-4736-A062-C5741A19BF23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447C-4736-A062-C5741A19BF2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447C-4736-A062-C5741A19BF2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47C-4736-A062-C5741A19BF2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47C-4736-A062-C5741A19BF2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47C-4736-A062-C5741A19BF2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47C-4736-A062-C5741A19BF2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47C-4736-A062-C5741A19BF23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47C-4736-A062-C5741A19BF2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47C-4736-A062-C5741A19BF2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47C-4736-A062-C5741A19BF23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47C-4736-A062-C5741A19BF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#,##0.0;"-"#,##0.0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447C-4736-A062-C5741A19BF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91182991"/>
        <c:axId val="1"/>
      </c:barChart>
      <c:catAx>
        <c:axId val="9911829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#,##0.0;&quot;-&quot;#,##0.0" sourceLinked="1"/>
        <c:majorTickMark val="out"/>
        <c:minorTickMark val="none"/>
        <c:tickLblPos val="nextTo"/>
        <c:crossAx val="9911829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9117CB-0D1E-48EB-BDB9-D5D5DFB8F3B8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5314-A2F5-4FFA-99CC-D410D5F97CE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1037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746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98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8316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47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68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2386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070179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chart" Target="../charts/chart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5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oleObject" Target="../embeddings/oleObject5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2" imgW="360" imgH="360" progId="TCLayout.ActiveDocument.1">
                  <p:embed/>
                </p:oleObj>
              </mc:Choice>
              <mc:Fallback>
                <p:oleObj name="think-cell 幻灯片" r:id="rId32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9873D4B7-FFBB-4CBD-92DE-2CE89D147096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7EC4527-9C6A-5BE9-DD3B-6794A0C2368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6103938" y="2266950"/>
            <a:ext cx="0" cy="577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CF9F58EC-AFAD-4131-DAFB-53261663A63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103938" y="2266950"/>
            <a:ext cx="1266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ADC88FE-99ED-ED19-FA9A-F5F74A9C1A0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370763" y="22669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2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3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4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5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6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7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8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9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_total_number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2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3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4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5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6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7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8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9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321427" y="1981618"/>
            <a:ext cx="801688" cy="6032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rowth_rate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4CDA5637-EA86-4612-BA13-41891D32BBF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331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s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6DACA977-854C-76C5-E9EE-5F4D5C8F0962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729367" cy="215444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on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id="{0B580CAD-4EB1-92EB-ABB9-7584A1DCBDC5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0203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UmHIxJt6zA59lSahVU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i37rvx9Pv8h0.lhmao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AYiI3UXpt0lvJbZJ0s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377OV6vAabMhghxMuv3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64</Words>
  <Application>Microsoft Office PowerPoint</Application>
  <PresentationFormat>宽屏</PresentationFormat>
  <Paragraphs>4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3:43:04Z</dcterms:created>
  <dcterms:modified xsi:type="dcterms:W3CDTF">2025-09-09T03:45:12Z</dcterms:modified>
</cp:coreProperties>
</file>